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29" r:id="rId6"/>
    <p:sldId id="349" r:id="rId7"/>
    <p:sldId id="350" r:id="rId8"/>
    <p:sldId id="351" r:id="rId9"/>
    <p:sldId id="352" r:id="rId10"/>
    <p:sldId id="353" r:id="rId11"/>
  </p:sldIdLst>
  <p:sldSz cx="9906000" cy="6858000" type="A4"/>
  <p:notesSz cx="6797675" cy="9926638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27"/>
        <p:guide pos="2142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797675" cy="495793"/>
          </a:xfrm>
          <a:prstGeom prst="rect">
            <a:avLst/>
          </a:prstGeom>
        </p:spPr>
        <p:txBody>
          <a:bodyPr vert="horz" lIns="34729" tIns="34729" rIns="243102" bIns="34729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9306"/>
            <a:ext cx="2945861" cy="495793"/>
          </a:xfrm>
          <a:prstGeom prst="rect">
            <a:avLst/>
          </a:prstGeom>
        </p:spPr>
        <p:txBody>
          <a:bodyPr vert="horz" lIns="88211" tIns="44106" rIns="88211" bIns="4410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5" y="9429306"/>
            <a:ext cx="2945861" cy="495793"/>
          </a:xfrm>
          <a:prstGeom prst="rect">
            <a:avLst/>
          </a:prstGeom>
        </p:spPr>
        <p:txBody>
          <a:bodyPr vert="horz" lIns="88211" tIns="44106" rIns="88211" bIns="4410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3"/>
          </a:xfrm>
          <a:prstGeom prst="rect">
            <a:avLst/>
          </a:prstGeom>
        </p:spPr>
        <p:txBody>
          <a:bodyPr vert="horz" lIns="95551" tIns="47776" rIns="95551" bIns="4777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3"/>
          </a:xfrm>
          <a:prstGeom prst="rect">
            <a:avLst/>
          </a:prstGeom>
        </p:spPr>
        <p:txBody>
          <a:bodyPr vert="horz" lIns="95551" tIns="47776" rIns="95551" bIns="47776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2/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1" tIns="47776" rIns="95551" bIns="47776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8"/>
          </a:xfrm>
          <a:prstGeom prst="rect">
            <a:avLst/>
          </a:prstGeom>
        </p:spPr>
        <p:txBody>
          <a:bodyPr vert="horz" lIns="95551" tIns="47776" rIns="95551" bIns="4777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3"/>
          </a:xfrm>
          <a:prstGeom prst="rect">
            <a:avLst/>
          </a:prstGeom>
        </p:spPr>
        <p:txBody>
          <a:bodyPr vert="horz" lIns="95551" tIns="47776" rIns="95551" bIns="47776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6333"/>
          </a:xfrm>
          <a:prstGeom prst="rect">
            <a:avLst/>
          </a:prstGeom>
        </p:spPr>
        <p:txBody>
          <a:bodyPr vert="horz" lIns="95551" tIns="47776" rIns="95551" bIns="47776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72100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Hell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0790" y="4437140"/>
            <a:ext cx="1838325" cy="1828800"/>
          </a:xfrm>
          <a:prstGeom prst="rect">
            <a:avLst/>
          </a:prstGeom>
          <a:noFill/>
        </p:spPr>
      </p:pic>
      <p:pic>
        <p:nvPicPr>
          <p:cNvPr id="8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80490" y="4437140"/>
            <a:ext cx="1828800" cy="1828800"/>
          </a:xfrm>
          <a:prstGeom prst="rect">
            <a:avLst/>
          </a:prstGeom>
          <a:noFill/>
        </p:spPr>
      </p:pic>
      <p:pic>
        <p:nvPicPr>
          <p:cNvPr id="11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529080" y="4437140"/>
            <a:ext cx="1838325" cy="1828800"/>
          </a:xfrm>
          <a:prstGeom prst="rect">
            <a:avLst/>
          </a:prstGeom>
          <a:noFill/>
        </p:spPr>
      </p:pic>
      <p:pic>
        <p:nvPicPr>
          <p:cNvPr id="12" name="Picture 8" descr="Warsztat 12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4509150"/>
            <a:ext cx="1838325" cy="1838325"/>
          </a:xfrm>
          <a:prstGeom prst="rect">
            <a:avLst/>
          </a:prstGeom>
          <a:noFill/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28330" y="0"/>
            <a:ext cx="9906000" cy="194427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Witajcie! </a:t>
            </a:r>
            <a:r>
              <a:rPr lang="pl-PL" dirty="0" smtClean="0">
                <a:solidFill>
                  <a:schemeClr val="tx1"/>
                </a:solidFill>
                <a:sym typeface="Wingdings" pitchFamily="2" charset="2"/>
              </a:rPr>
              <a:t></a:t>
            </a:r>
            <a:endParaRPr lang="en-GB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Plan d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Hell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136470" y="1268700"/>
          <a:ext cx="7694610" cy="4634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539"/>
                <a:gridCol w="2305931"/>
                <a:gridCol w="1232296"/>
                <a:gridCol w="2080164"/>
                <a:gridCol w="997680"/>
              </a:tblGrid>
              <a:tr h="648090"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to?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Rano: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r>
                        <a:rPr lang="pl-PL" baseline="0" dirty="0" smtClean="0">
                          <a:latin typeface="Comic Sans MS" pitchFamily="66" charset="0"/>
                        </a:rPr>
                        <a:t>10:15 – 12:45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rzerw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o południu:</a:t>
                      </a:r>
                    </a:p>
                    <a:p>
                      <a:r>
                        <a:rPr lang="pl-PL" dirty="0" smtClean="0">
                          <a:latin typeface="Comic Sans MS" pitchFamily="66" charset="0"/>
                        </a:rPr>
                        <a:t>13:15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– 16:00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oniec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Dawid 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&amp;</a:t>
                      </a:r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 </a:t>
                      </a: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3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latin typeface="Comic Sans MS" pitchFamily="66" charset="0"/>
                        </a:rPr>
                        <a:t>Ł</a:t>
                      </a:r>
                      <a:r>
                        <a:rPr lang="pl-PL" dirty="0" err="1" smtClean="0">
                          <a:latin typeface="Comic Sans MS" pitchFamily="66" charset="0"/>
                        </a:rPr>
                        <a:t>ukasz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  <a:r>
                        <a:rPr lang="pl-PL" dirty="0" smtClean="0">
                          <a:latin typeface="Comic Sans MS" pitchFamily="66" charset="0"/>
                        </a:rPr>
                        <a:t>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B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R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A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W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O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&amp;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Zuzi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 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Zuzi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 Dawid </a:t>
                      </a:r>
                      <a:r>
                        <a:rPr lang="pl-PL" dirty="0" smtClean="0">
                          <a:latin typeface="Comic Sans MS" pitchFamily="66" charset="0"/>
                        </a:rPr>
                        <a:t>&amp; 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Łukasz &amp;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Jacek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Jacek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52500" y="2060810"/>
            <a:ext cx="648090" cy="648090"/>
          </a:xfrm>
          <a:prstGeom prst="rect">
            <a:avLst/>
          </a:prstGeom>
          <a:noFill/>
        </p:spPr>
      </p:pic>
      <p:pic>
        <p:nvPicPr>
          <p:cNvPr id="15" name="Picture 2" descr="Warsztat 8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3140960"/>
            <a:ext cx="648090" cy="644732"/>
          </a:xfrm>
          <a:prstGeom prst="rect">
            <a:avLst/>
          </a:prstGeom>
          <a:noFill/>
        </p:spPr>
      </p:pic>
      <p:pic>
        <p:nvPicPr>
          <p:cNvPr id="16" name="Picture 6" descr="Warsztat 10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352500" y="4149100"/>
            <a:ext cx="648090" cy="644732"/>
          </a:xfrm>
          <a:prstGeom prst="rect">
            <a:avLst/>
          </a:prstGeom>
          <a:noFill/>
        </p:spPr>
      </p:pic>
      <p:pic>
        <p:nvPicPr>
          <p:cNvPr id="17" name="Picture 8" descr="Warsztat 12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352500" y="5229250"/>
            <a:ext cx="648090" cy="648090"/>
          </a:xfrm>
          <a:prstGeom prst="rect">
            <a:avLst/>
          </a:prstGeom>
          <a:noFill/>
        </p:spPr>
      </p:pic>
      <p:sp>
        <p:nvSpPr>
          <p:cNvPr id="137220" name="AutoShape 4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7222" name="AutoShape 6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37223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36970" y="3501010"/>
            <a:ext cx="864120" cy="84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2665" y="870575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2365" y="870575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30955" y="870575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291255" y="942585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Warsztat 6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20000" y="1080000"/>
            <a:ext cx="4464620" cy="44646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20000" y="1080000"/>
            <a:ext cx="4484953" cy="446171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Warsztat 10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20000" y="1080000"/>
            <a:ext cx="4484953" cy="446171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Warsztat 12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20000" y="1080000"/>
            <a:ext cx="4484953" cy="44849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</Words>
  <Application>Microsoft Office PowerPoint</Application>
  <PresentationFormat>A4 Paper (210x297 mm)</PresentationFormat>
  <Paragraphs>48</Paragraphs>
  <Slides>8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Witajcie! </vt:lpstr>
      <vt:lpstr>Plan dnia</vt:lpstr>
      <vt:lpstr>Slide 3</vt:lpstr>
      <vt:lpstr>Slide 4</vt:lpstr>
      <vt:lpstr>Slide 5</vt:lpstr>
      <vt:lpstr>Slide 6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LASZKIE</cp:lastModifiedBy>
  <cp:revision>42</cp:revision>
  <dcterms:created xsi:type="dcterms:W3CDTF">2014-10-21T19:55:20Z</dcterms:created>
  <dcterms:modified xsi:type="dcterms:W3CDTF">2015-02-05T08:32:44Z</dcterms:modified>
</cp:coreProperties>
</file>